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05" r:id="rId16"/>
    <p:sldId id="2147375606" r:id="rId17"/>
    <p:sldId id="2147375607" r:id="rId18"/>
    <p:sldId id="2147375608" r:id="rId19"/>
    <p:sldId id="2147375609" r:id="rId20"/>
    <p:sldId id="2147375610" r:id="rId21"/>
    <p:sldId id="2147375611" r:id="rId22"/>
    <p:sldId id="2147375612" r:id="rId23"/>
    <p:sldId id="2147375613" r:id="rId24"/>
    <p:sldId id="2147375614" r:id="rId25"/>
    <p:sldId id="1633"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0AF270-BCF9-4F8F-B3E8-879A80E43E88}" v="82" dt="2024-08-30T14:41:31.2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Chakraborty, Rohita SBOBNG-PTIY/TCBC" userId="cf4991cc-9c30-4798-8d3b-d099c236116d" providerId="ADAL" clId="{980AF270-BCF9-4F8F-B3E8-879A80E43E88}"/>
    <pc:docChg chg="undo custSel addSld modSld">
      <pc:chgData name="Chakraborty, Rohita SBOBNG-PTIY/TCBC" userId="cf4991cc-9c30-4798-8d3b-d099c236116d" providerId="ADAL" clId="{980AF270-BCF9-4F8F-B3E8-879A80E43E88}" dt="2024-08-30T14:44:18.356" v="4660" actId="123"/>
      <pc:docMkLst>
        <pc:docMk/>
      </pc:docMkLst>
      <pc:sldChg chg="addSp modSp mod">
        <pc:chgData name="Chakraborty, Rohita SBOBNG-PTIY/TCBC" userId="cf4991cc-9c30-4798-8d3b-d099c236116d" providerId="ADAL" clId="{980AF270-BCF9-4F8F-B3E8-879A80E43E88}" dt="2024-08-30T08:20:45.484" v="373" actId="27614"/>
        <pc:sldMkLst>
          <pc:docMk/>
          <pc:sldMk cId="3267775274" sldId="256"/>
        </pc:sldMkLst>
        <pc:spChg chg="mod">
          <ac:chgData name="Chakraborty, Rohita SBOBNG-PTIY/TCBC" userId="cf4991cc-9c30-4798-8d3b-d099c236116d" providerId="ADAL" clId="{980AF270-BCF9-4F8F-B3E8-879A80E43E88}" dt="2024-08-30T03:01:56.639" v="5" actId="20577"/>
          <ac:spMkLst>
            <pc:docMk/>
            <pc:sldMk cId="3267775274" sldId="256"/>
            <ac:spMk id="6" creationId="{0C37A4A8-A3C7-407F-B123-88E2E165C827}"/>
          </ac:spMkLst>
        </pc:spChg>
        <pc:spChg chg="mod">
          <ac:chgData name="Chakraborty, Rohita SBOBNG-PTIY/TCBC" userId="cf4991cc-9c30-4798-8d3b-d099c236116d" providerId="ADAL" clId="{980AF270-BCF9-4F8F-B3E8-879A80E43E88}" dt="2024-08-30T03:02:09.978" v="29" actId="20577"/>
          <ac:spMkLst>
            <pc:docMk/>
            <pc:sldMk cId="3267775274" sldId="256"/>
            <ac:spMk id="12" creationId="{8A24547F-8A92-CDC5-A578-3733390534F2}"/>
          </ac:spMkLst>
        </pc:spChg>
        <pc:picChg chg="add mod">
          <ac:chgData name="Chakraborty, Rohita SBOBNG-PTIY/TCBC" userId="cf4991cc-9c30-4798-8d3b-d099c236116d" providerId="ADAL" clId="{980AF270-BCF9-4F8F-B3E8-879A80E43E88}" dt="2024-08-30T08:20:45.484" v="373" actId="27614"/>
          <ac:picMkLst>
            <pc:docMk/>
            <pc:sldMk cId="3267775274" sldId="256"/>
            <ac:picMk id="3" creationId="{DC2041A8-2E74-DA0D-58F5-DA2D30545139}"/>
          </ac:picMkLst>
        </pc:picChg>
      </pc:sldChg>
      <pc:sldChg chg="addSp modSp mod">
        <pc:chgData name="Chakraborty, Rohita SBOBNG-PTIY/TCBC" userId="cf4991cc-9c30-4798-8d3b-d099c236116d" providerId="ADAL" clId="{980AF270-BCF9-4F8F-B3E8-879A80E43E88}" dt="2024-08-30T03:10:30.183" v="85" actId="33524"/>
        <pc:sldMkLst>
          <pc:docMk/>
          <pc:sldMk cId="867832184" sldId="2147375589"/>
        </pc:sldMkLst>
        <pc:spChg chg="add">
          <ac:chgData name="Chakraborty, Rohita SBOBNG-PTIY/TCBC" userId="cf4991cc-9c30-4798-8d3b-d099c236116d" providerId="ADAL" clId="{980AF270-BCF9-4F8F-B3E8-879A80E43E88}" dt="2024-08-30T03:10:09.418" v="81"/>
          <ac:spMkLst>
            <pc:docMk/>
            <pc:sldMk cId="867832184" sldId="2147375589"/>
            <ac:spMk id="2" creationId="{1D9B47B8-924D-7EFD-D343-2B237AA5D61A}"/>
          </ac:spMkLst>
        </pc:spChg>
        <pc:spChg chg="mod">
          <ac:chgData name="Chakraborty, Rohita SBOBNG-PTIY/TCBC" userId="cf4991cc-9c30-4798-8d3b-d099c236116d" providerId="ADAL" clId="{980AF270-BCF9-4F8F-B3E8-879A80E43E88}" dt="2024-08-30T03:10:30.183" v="85" actId="33524"/>
          <ac:spMkLst>
            <pc:docMk/>
            <pc:sldMk cId="867832184" sldId="2147375589"/>
            <ac:spMk id="10" creationId="{1119CB9E-042F-11E8-F683-654626D307B3}"/>
          </ac:spMkLst>
        </pc:spChg>
        <pc:spChg chg="mod">
          <ac:chgData name="Chakraborty, Rohita SBOBNG-PTIY/TCBC" userId="cf4991cc-9c30-4798-8d3b-d099c236116d" providerId="ADAL" clId="{980AF270-BCF9-4F8F-B3E8-879A80E43E88}" dt="2024-08-30T03:10:07.002" v="80" actId="20577"/>
          <ac:spMkLst>
            <pc:docMk/>
            <pc:sldMk cId="867832184" sldId="2147375589"/>
            <ac:spMk id="11" creationId="{CE0DDF5F-FE47-F9A2-FE84-53B63DFF494D}"/>
          </ac:spMkLst>
        </pc:spChg>
        <pc:picChg chg="add mod">
          <ac:chgData name="Chakraborty, Rohita SBOBNG-PTIY/TCBC" userId="cf4991cc-9c30-4798-8d3b-d099c236116d" providerId="ADAL" clId="{980AF270-BCF9-4F8F-B3E8-879A80E43E88}" dt="2024-08-30T03:10:18.723" v="84" actId="1076"/>
          <ac:picMkLst>
            <pc:docMk/>
            <pc:sldMk cId="867832184" sldId="2147375589"/>
            <ac:picMk id="6" creationId="{F1F56A95-56E0-55D0-A886-9FB00FAE2312}"/>
          </ac:picMkLst>
        </pc:picChg>
      </pc:sldChg>
      <pc:sldChg chg="addSp modSp mod">
        <pc:chgData name="Chakraborty, Rohita SBOBNG-PTIY/TCBC" userId="cf4991cc-9c30-4798-8d3b-d099c236116d" providerId="ADAL" clId="{980AF270-BCF9-4F8F-B3E8-879A80E43E88}" dt="2024-08-30T11:49:41.030" v="2122" actId="123"/>
        <pc:sldMkLst>
          <pc:docMk/>
          <pc:sldMk cId="245881457" sldId="2147375597"/>
        </pc:sldMkLst>
        <pc:spChg chg="mod">
          <ac:chgData name="Chakraborty, Rohita SBOBNG-PTIY/TCBC" userId="cf4991cc-9c30-4798-8d3b-d099c236116d" providerId="ADAL" clId="{980AF270-BCF9-4F8F-B3E8-879A80E43E88}" dt="2024-08-30T03:11:56.455" v="96" actId="20577"/>
          <ac:spMkLst>
            <pc:docMk/>
            <pc:sldMk cId="245881457" sldId="2147375597"/>
            <ac:spMk id="3" creationId="{CEA128C4-A0BC-A895-713C-306E7FF62894}"/>
          </ac:spMkLst>
        </pc:spChg>
        <pc:spChg chg="mod">
          <ac:chgData name="Chakraborty, Rohita SBOBNG-PTIY/TCBC" userId="cf4991cc-9c30-4798-8d3b-d099c236116d" providerId="ADAL" clId="{980AF270-BCF9-4F8F-B3E8-879A80E43E88}" dt="2024-08-30T11:49:41.030" v="2122" actId="123"/>
          <ac:spMkLst>
            <pc:docMk/>
            <pc:sldMk cId="245881457" sldId="2147375597"/>
            <ac:spMk id="11" creationId="{DE9F1BE0-7910-FA1B-DCE8-56EFD1E4FC09}"/>
          </ac:spMkLst>
        </pc:spChg>
        <pc:spChg chg="mod">
          <ac:chgData name="Chakraborty, Rohita SBOBNG-PTIY/TCBC" userId="cf4991cc-9c30-4798-8d3b-d099c236116d" providerId="ADAL" clId="{980AF270-BCF9-4F8F-B3E8-879A80E43E88}" dt="2024-08-30T04:50:53.312" v="366" actId="20577"/>
          <ac:spMkLst>
            <pc:docMk/>
            <pc:sldMk cId="245881457" sldId="2147375597"/>
            <ac:spMk id="12" creationId="{E53E5C3F-4D2B-B85F-E592-E58E032C664C}"/>
          </ac:spMkLst>
        </pc:spChg>
        <pc:picChg chg="add mod">
          <ac:chgData name="Chakraborty, Rohita SBOBNG-PTIY/TCBC" userId="cf4991cc-9c30-4798-8d3b-d099c236116d" providerId="ADAL" clId="{980AF270-BCF9-4F8F-B3E8-879A80E43E88}" dt="2024-08-30T04:51:02.241" v="369" actId="1076"/>
          <ac:picMkLst>
            <pc:docMk/>
            <pc:sldMk cId="245881457" sldId="2147375597"/>
            <ac:picMk id="1026" creationId="{AD955203-77E0-CC58-D6D3-BC215C429EB7}"/>
          </ac:picMkLst>
        </pc:picChg>
      </pc:sldChg>
      <pc:sldChg chg="addSp modSp mod">
        <pc:chgData name="Chakraborty, Rohita SBOBNG-PTIY/TCBC" userId="cf4991cc-9c30-4798-8d3b-d099c236116d" providerId="ADAL" clId="{980AF270-BCF9-4F8F-B3E8-879A80E43E88}" dt="2024-08-30T11:49:48.465" v="2125" actId="123"/>
        <pc:sldMkLst>
          <pc:docMk/>
          <pc:sldMk cId="1181112711" sldId="2147375600"/>
        </pc:sldMkLst>
        <pc:spChg chg="mod">
          <ac:chgData name="Chakraborty, Rohita SBOBNG-PTIY/TCBC" userId="cf4991cc-9c30-4798-8d3b-d099c236116d" providerId="ADAL" clId="{980AF270-BCF9-4F8F-B3E8-879A80E43E88}" dt="2024-08-30T08:24:23.376" v="376" actId="20577"/>
          <ac:spMkLst>
            <pc:docMk/>
            <pc:sldMk cId="1181112711" sldId="2147375600"/>
            <ac:spMk id="3" creationId="{CEA128C4-A0BC-A895-713C-306E7FF62894}"/>
          </ac:spMkLst>
        </pc:spChg>
        <pc:spChg chg="mod">
          <ac:chgData name="Chakraborty, Rohita SBOBNG-PTIY/TCBC" userId="cf4991cc-9c30-4798-8d3b-d099c236116d" providerId="ADAL" clId="{980AF270-BCF9-4F8F-B3E8-879A80E43E88}" dt="2024-08-30T11:49:48.465" v="2125" actId="123"/>
          <ac:spMkLst>
            <pc:docMk/>
            <pc:sldMk cId="1181112711" sldId="2147375600"/>
            <ac:spMk id="11" creationId="{DE9F1BE0-7910-FA1B-DCE8-56EFD1E4FC09}"/>
          </ac:spMkLst>
        </pc:spChg>
        <pc:spChg chg="mod">
          <ac:chgData name="Chakraborty, Rohita SBOBNG-PTIY/TCBC" userId="cf4991cc-9c30-4798-8d3b-d099c236116d" providerId="ADAL" clId="{980AF270-BCF9-4F8F-B3E8-879A80E43E88}" dt="2024-08-30T08:57:33.756" v="720" actId="20577"/>
          <ac:spMkLst>
            <pc:docMk/>
            <pc:sldMk cId="1181112711" sldId="2147375600"/>
            <ac:spMk id="12" creationId="{E53E5C3F-4D2B-B85F-E592-E58E032C664C}"/>
          </ac:spMkLst>
        </pc:spChg>
        <pc:picChg chg="add mod">
          <ac:chgData name="Chakraborty, Rohita SBOBNG-PTIY/TCBC" userId="cf4991cc-9c30-4798-8d3b-d099c236116d" providerId="ADAL" clId="{980AF270-BCF9-4F8F-B3E8-879A80E43E88}" dt="2024-08-30T11:24:03.262" v="753" actId="1076"/>
          <ac:picMkLst>
            <pc:docMk/>
            <pc:sldMk cId="1181112711" sldId="2147375600"/>
            <ac:picMk id="1026" creationId="{FCE449E2-377F-A530-59EC-F68DC2E0DA92}"/>
          </ac:picMkLst>
        </pc:picChg>
        <pc:picChg chg="add mod">
          <ac:chgData name="Chakraborty, Rohita SBOBNG-PTIY/TCBC" userId="cf4991cc-9c30-4798-8d3b-d099c236116d" providerId="ADAL" clId="{980AF270-BCF9-4F8F-B3E8-879A80E43E88}" dt="2024-08-30T09:01:04.284" v="731" actId="14100"/>
          <ac:picMkLst>
            <pc:docMk/>
            <pc:sldMk cId="1181112711" sldId="2147375600"/>
            <ac:picMk id="1028" creationId="{9B2F4B36-E9F1-4AF5-143A-91284103B1D9}"/>
          </ac:picMkLst>
        </pc:picChg>
        <pc:picChg chg="add mod">
          <ac:chgData name="Chakraborty, Rohita SBOBNG-PTIY/TCBC" userId="cf4991cc-9c30-4798-8d3b-d099c236116d" providerId="ADAL" clId="{980AF270-BCF9-4F8F-B3E8-879A80E43E88}" dt="2024-08-30T09:52:46.984" v="746" actId="1076"/>
          <ac:picMkLst>
            <pc:docMk/>
            <pc:sldMk cId="1181112711" sldId="2147375600"/>
            <ac:picMk id="1030" creationId="{4DA9AC5C-3718-1268-4B83-9FCB1AEAFC9C}"/>
          </ac:picMkLst>
        </pc:picChg>
      </pc:sldChg>
      <pc:sldChg chg="addSp modSp mod">
        <pc:chgData name="Chakraborty, Rohita SBOBNG-PTIY/TCBC" userId="cf4991cc-9c30-4798-8d3b-d099c236116d" providerId="ADAL" clId="{980AF270-BCF9-4F8F-B3E8-879A80E43E88}" dt="2024-08-30T12:05:18.642" v="2976" actId="1076"/>
        <pc:sldMkLst>
          <pc:docMk/>
          <pc:sldMk cId="3233747587" sldId="2147375601"/>
        </pc:sldMkLst>
        <pc:spChg chg="mod">
          <ac:chgData name="Chakraborty, Rohita SBOBNG-PTIY/TCBC" userId="cf4991cc-9c30-4798-8d3b-d099c236116d" providerId="ADAL" clId="{980AF270-BCF9-4F8F-B3E8-879A80E43E88}" dt="2024-08-30T11:21:52.768" v="749" actId="20577"/>
          <ac:spMkLst>
            <pc:docMk/>
            <pc:sldMk cId="3233747587" sldId="2147375601"/>
            <ac:spMk id="3" creationId="{CEA128C4-A0BC-A895-713C-306E7FF62894}"/>
          </ac:spMkLst>
        </pc:spChg>
        <pc:spChg chg="mod">
          <ac:chgData name="Chakraborty, Rohita SBOBNG-PTIY/TCBC" userId="cf4991cc-9c30-4798-8d3b-d099c236116d" providerId="ADAL" clId="{980AF270-BCF9-4F8F-B3E8-879A80E43E88}" dt="2024-08-30T12:05:18.642" v="2976" actId="1076"/>
          <ac:spMkLst>
            <pc:docMk/>
            <pc:sldMk cId="3233747587" sldId="2147375601"/>
            <ac:spMk id="11" creationId="{DE9F1BE0-7910-FA1B-DCE8-56EFD1E4FC09}"/>
          </ac:spMkLst>
        </pc:spChg>
        <pc:spChg chg="mod">
          <ac:chgData name="Chakraborty, Rohita SBOBNG-PTIY/TCBC" userId="cf4991cc-9c30-4798-8d3b-d099c236116d" providerId="ADAL" clId="{980AF270-BCF9-4F8F-B3E8-879A80E43E88}" dt="2024-08-30T11:22:05.265" v="752" actId="20577"/>
          <ac:spMkLst>
            <pc:docMk/>
            <pc:sldMk cId="3233747587" sldId="2147375601"/>
            <ac:spMk id="12" creationId="{E53E5C3F-4D2B-B85F-E592-E58E032C664C}"/>
          </ac:spMkLst>
        </pc:spChg>
        <pc:picChg chg="add mod">
          <ac:chgData name="Chakraborty, Rohita SBOBNG-PTIY/TCBC" userId="cf4991cc-9c30-4798-8d3b-d099c236116d" providerId="ADAL" clId="{980AF270-BCF9-4F8F-B3E8-879A80E43E88}" dt="2024-08-30T11:28:17.727" v="1123" actId="14100"/>
          <ac:picMkLst>
            <pc:docMk/>
            <pc:sldMk cId="3233747587" sldId="2147375601"/>
            <ac:picMk id="1026" creationId="{021A8883-6202-CD97-CAEC-88B28AB5BF4E}"/>
          </ac:picMkLst>
        </pc:picChg>
        <pc:picChg chg="add mod">
          <ac:chgData name="Chakraborty, Rohita SBOBNG-PTIY/TCBC" userId="cf4991cc-9c30-4798-8d3b-d099c236116d" providerId="ADAL" clId="{980AF270-BCF9-4F8F-B3E8-879A80E43E88}" dt="2024-08-30T11:28:33.795" v="1128" actId="1076"/>
          <ac:picMkLst>
            <pc:docMk/>
            <pc:sldMk cId="3233747587" sldId="2147375601"/>
            <ac:picMk id="1028" creationId="{46F164C6-1535-149A-E896-301C8EC5F019}"/>
          </ac:picMkLst>
        </pc:picChg>
      </pc:sldChg>
      <pc:sldChg chg="addSp modSp mod">
        <pc:chgData name="Chakraborty, Rohita SBOBNG-PTIY/TCBC" userId="cf4991cc-9c30-4798-8d3b-d099c236116d" providerId="ADAL" clId="{980AF270-BCF9-4F8F-B3E8-879A80E43E88}" dt="2024-08-30T11:51:13.526" v="2137" actId="1076"/>
        <pc:sldMkLst>
          <pc:docMk/>
          <pc:sldMk cId="3971512377" sldId="2147375603"/>
        </pc:sldMkLst>
        <pc:spChg chg="mod">
          <ac:chgData name="Chakraborty, Rohita SBOBNG-PTIY/TCBC" userId="cf4991cc-9c30-4798-8d3b-d099c236116d" providerId="ADAL" clId="{980AF270-BCF9-4F8F-B3E8-879A80E43E88}" dt="2024-08-30T11:50:21.823" v="2131" actId="1076"/>
          <ac:spMkLst>
            <pc:docMk/>
            <pc:sldMk cId="3971512377" sldId="2147375603"/>
            <ac:spMk id="11" creationId="{DE9F1BE0-7910-FA1B-DCE8-56EFD1E4FC09}"/>
          </ac:spMkLst>
        </pc:spChg>
        <pc:spChg chg="mod">
          <ac:chgData name="Chakraborty, Rohita SBOBNG-PTIY/TCBC" userId="cf4991cc-9c30-4798-8d3b-d099c236116d" providerId="ADAL" clId="{980AF270-BCF9-4F8F-B3E8-879A80E43E88}" dt="2024-08-30T11:50:25.515" v="2132" actId="20577"/>
          <ac:spMkLst>
            <pc:docMk/>
            <pc:sldMk cId="3971512377" sldId="2147375603"/>
            <ac:spMk id="12" creationId="{E53E5C3F-4D2B-B85F-E592-E58E032C664C}"/>
          </ac:spMkLst>
        </pc:spChg>
        <pc:picChg chg="add mod">
          <ac:chgData name="Chakraborty, Rohita SBOBNG-PTIY/TCBC" userId="cf4991cc-9c30-4798-8d3b-d099c236116d" providerId="ADAL" clId="{980AF270-BCF9-4F8F-B3E8-879A80E43E88}" dt="2024-08-30T11:51:13.526" v="2137" actId="1076"/>
          <ac:picMkLst>
            <pc:docMk/>
            <pc:sldMk cId="3971512377" sldId="2147375603"/>
            <ac:picMk id="4098" creationId="{16C968F3-8199-64BA-FAE9-27B7EBB0922D}"/>
          </ac:picMkLst>
        </pc:picChg>
      </pc:sldChg>
      <pc:sldChg chg="addSp modSp mod">
        <pc:chgData name="Chakraborty, Rohita SBOBNG-PTIY/TCBC" userId="cf4991cc-9c30-4798-8d3b-d099c236116d" providerId="ADAL" clId="{980AF270-BCF9-4F8F-B3E8-879A80E43E88}" dt="2024-08-30T11:55:24.689" v="2505" actId="1076"/>
        <pc:sldMkLst>
          <pc:docMk/>
          <pc:sldMk cId="3179805674" sldId="2147375604"/>
        </pc:sldMkLst>
        <pc:spChg chg="mod">
          <ac:chgData name="Chakraborty, Rohita SBOBNG-PTIY/TCBC" userId="cf4991cc-9c30-4798-8d3b-d099c236116d" providerId="ADAL" clId="{980AF270-BCF9-4F8F-B3E8-879A80E43E88}" dt="2024-08-30T11:54:41.954" v="2500" actId="1076"/>
          <ac:spMkLst>
            <pc:docMk/>
            <pc:sldMk cId="3179805674" sldId="2147375604"/>
            <ac:spMk id="11" creationId="{DE9F1BE0-7910-FA1B-DCE8-56EFD1E4FC09}"/>
          </ac:spMkLst>
        </pc:spChg>
        <pc:spChg chg="mod">
          <ac:chgData name="Chakraborty, Rohita SBOBNG-PTIY/TCBC" userId="cf4991cc-9c30-4798-8d3b-d099c236116d" providerId="ADAL" clId="{980AF270-BCF9-4F8F-B3E8-879A80E43E88}" dt="2024-08-30T11:54:45.885" v="2501" actId="20577"/>
          <ac:spMkLst>
            <pc:docMk/>
            <pc:sldMk cId="3179805674" sldId="2147375604"/>
            <ac:spMk id="12" creationId="{E53E5C3F-4D2B-B85F-E592-E58E032C664C}"/>
          </ac:spMkLst>
        </pc:spChg>
        <pc:picChg chg="add mod">
          <ac:chgData name="Chakraborty, Rohita SBOBNG-PTIY/TCBC" userId="cf4991cc-9c30-4798-8d3b-d099c236116d" providerId="ADAL" clId="{980AF270-BCF9-4F8F-B3E8-879A80E43E88}" dt="2024-08-30T11:55:24.689" v="2505" actId="1076"/>
          <ac:picMkLst>
            <pc:docMk/>
            <pc:sldMk cId="3179805674" sldId="2147375604"/>
            <ac:picMk id="5122" creationId="{5F7E537B-ADFA-EF9C-058E-109BF0C8356C}"/>
          </ac:picMkLst>
        </pc:picChg>
      </pc:sldChg>
      <pc:sldChg chg="addSp modSp mod">
        <pc:chgData name="Chakraborty, Rohita SBOBNG-PTIY/TCBC" userId="cf4991cc-9c30-4798-8d3b-d099c236116d" providerId="ADAL" clId="{980AF270-BCF9-4F8F-B3E8-879A80E43E88}" dt="2024-08-30T12:02:44.596" v="2790" actId="1076"/>
        <pc:sldMkLst>
          <pc:docMk/>
          <pc:sldMk cId="86366928" sldId="2147375605"/>
        </pc:sldMkLst>
        <pc:spChg chg="mod">
          <ac:chgData name="Chakraborty, Rohita SBOBNG-PTIY/TCBC" userId="cf4991cc-9c30-4798-8d3b-d099c236116d" providerId="ADAL" clId="{980AF270-BCF9-4F8F-B3E8-879A80E43E88}" dt="2024-08-30T12:02:44.596" v="2790" actId="1076"/>
          <ac:spMkLst>
            <pc:docMk/>
            <pc:sldMk cId="86366928" sldId="2147375605"/>
            <ac:spMk id="11" creationId="{DE9F1BE0-7910-FA1B-DCE8-56EFD1E4FC09}"/>
          </ac:spMkLst>
        </pc:spChg>
        <pc:spChg chg="mod">
          <ac:chgData name="Chakraborty, Rohita SBOBNG-PTIY/TCBC" userId="cf4991cc-9c30-4798-8d3b-d099c236116d" providerId="ADAL" clId="{980AF270-BCF9-4F8F-B3E8-879A80E43E88}" dt="2024-08-30T12:01:56.226" v="2782" actId="20577"/>
          <ac:spMkLst>
            <pc:docMk/>
            <pc:sldMk cId="86366928" sldId="2147375605"/>
            <ac:spMk id="12" creationId="{E53E5C3F-4D2B-B85F-E592-E58E032C664C}"/>
          </ac:spMkLst>
        </pc:spChg>
        <pc:picChg chg="add mod">
          <ac:chgData name="Chakraborty, Rohita SBOBNG-PTIY/TCBC" userId="cf4991cc-9c30-4798-8d3b-d099c236116d" providerId="ADAL" clId="{980AF270-BCF9-4F8F-B3E8-879A80E43E88}" dt="2024-08-30T12:02:37.299" v="2788" actId="1076"/>
          <ac:picMkLst>
            <pc:docMk/>
            <pc:sldMk cId="86366928" sldId="2147375605"/>
            <ac:picMk id="6146" creationId="{A5587A81-9C91-1A43-B772-E9C4B5026452}"/>
          </ac:picMkLst>
        </pc:picChg>
      </pc:sldChg>
      <pc:sldChg chg="addSp delSp modSp mod">
        <pc:chgData name="Chakraborty, Rohita SBOBNG-PTIY/TCBC" userId="cf4991cc-9c30-4798-8d3b-d099c236116d" providerId="ADAL" clId="{980AF270-BCF9-4F8F-B3E8-879A80E43E88}" dt="2024-08-30T13:26:53.071" v="3310" actId="1076"/>
        <pc:sldMkLst>
          <pc:docMk/>
          <pc:sldMk cId="2340944189" sldId="2147375607"/>
        </pc:sldMkLst>
        <pc:spChg chg="add del mod">
          <ac:chgData name="Chakraborty, Rohita SBOBNG-PTIY/TCBC" userId="cf4991cc-9c30-4798-8d3b-d099c236116d" providerId="ADAL" clId="{980AF270-BCF9-4F8F-B3E8-879A80E43E88}" dt="2024-08-30T13:24:11.665" v="3304" actId="14100"/>
          <ac:spMkLst>
            <pc:docMk/>
            <pc:sldMk cId="2340944189" sldId="2147375607"/>
            <ac:spMk id="11" creationId="{DE9F1BE0-7910-FA1B-DCE8-56EFD1E4FC09}"/>
          </ac:spMkLst>
        </pc:spChg>
        <pc:spChg chg="mod">
          <ac:chgData name="Chakraborty, Rohita SBOBNG-PTIY/TCBC" userId="cf4991cc-9c30-4798-8d3b-d099c236116d" providerId="ADAL" clId="{980AF270-BCF9-4F8F-B3E8-879A80E43E88}" dt="2024-08-30T13:24:19.025" v="3307" actId="20577"/>
          <ac:spMkLst>
            <pc:docMk/>
            <pc:sldMk cId="2340944189" sldId="2147375607"/>
            <ac:spMk id="12" creationId="{E53E5C3F-4D2B-B85F-E592-E58E032C664C}"/>
          </ac:spMkLst>
        </pc:spChg>
        <pc:picChg chg="add mod">
          <ac:chgData name="Chakraborty, Rohita SBOBNG-PTIY/TCBC" userId="cf4991cc-9c30-4798-8d3b-d099c236116d" providerId="ADAL" clId="{980AF270-BCF9-4F8F-B3E8-879A80E43E88}" dt="2024-08-30T13:26:53.071" v="3310" actId="1076"/>
          <ac:picMkLst>
            <pc:docMk/>
            <pc:sldMk cId="2340944189" sldId="2147375607"/>
            <ac:picMk id="1026" creationId="{03CFD425-04DA-E5A1-127B-729F80E3C8A7}"/>
          </ac:picMkLst>
        </pc:picChg>
      </pc:sldChg>
      <pc:sldChg chg="addSp modSp mod">
        <pc:chgData name="Chakraborty, Rohita SBOBNG-PTIY/TCBC" userId="cf4991cc-9c30-4798-8d3b-d099c236116d" providerId="ADAL" clId="{980AF270-BCF9-4F8F-B3E8-879A80E43E88}" dt="2024-08-30T13:34:21.452" v="3693" actId="1076"/>
        <pc:sldMkLst>
          <pc:docMk/>
          <pc:sldMk cId="3159148252" sldId="2147375608"/>
        </pc:sldMkLst>
        <pc:spChg chg="mod">
          <ac:chgData name="Chakraborty, Rohita SBOBNG-PTIY/TCBC" userId="cf4991cc-9c30-4798-8d3b-d099c236116d" providerId="ADAL" clId="{980AF270-BCF9-4F8F-B3E8-879A80E43E88}" dt="2024-08-30T13:29:18.303" v="3687" actId="123"/>
          <ac:spMkLst>
            <pc:docMk/>
            <pc:sldMk cId="3159148252" sldId="2147375608"/>
            <ac:spMk id="11" creationId="{DE9F1BE0-7910-FA1B-DCE8-56EFD1E4FC09}"/>
          </ac:spMkLst>
        </pc:spChg>
        <pc:spChg chg="mod">
          <ac:chgData name="Chakraborty, Rohita SBOBNG-PTIY/TCBC" userId="cf4991cc-9c30-4798-8d3b-d099c236116d" providerId="ADAL" clId="{980AF270-BCF9-4F8F-B3E8-879A80E43E88}" dt="2024-08-30T13:29:21.725" v="3688" actId="20577"/>
          <ac:spMkLst>
            <pc:docMk/>
            <pc:sldMk cId="3159148252" sldId="2147375608"/>
            <ac:spMk id="12" creationId="{E53E5C3F-4D2B-B85F-E592-E58E032C664C}"/>
          </ac:spMkLst>
        </pc:spChg>
        <pc:picChg chg="add mod">
          <ac:chgData name="Chakraborty, Rohita SBOBNG-PTIY/TCBC" userId="cf4991cc-9c30-4798-8d3b-d099c236116d" providerId="ADAL" clId="{980AF270-BCF9-4F8F-B3E8-879A80E43E88}" dt="2024-08-30T13:34:21.452" v="3693" actId="1076"/>
          <ac:picMkLst>
            <pc:docMk/>
            <pc:sldMk cId="3159148252" sldId="2147375608"/>
            <ac:picMk id="2050" creationId="{F17C45BE-B37F-1B96-A3EB-906A224BE07C}"/>
          </ac:picMkLst>
        </pc:picChg>
      </pc:sldChg>
      <pc:sldChg chg="addSp modSp mod">
        <pc:chgData name="Chakraborty, Rohita SBOBNG-PTIY/TCBC" userId="cf4991cc-9c30-4798-8d3b-d099c236116d" providerId="ADAL" clId="{980AF270-BCF9-4F8F-B3E8-879A80E43E88}" dt="2024-08-30T13:41:31.775" v="3960" actId="1076"/>
        <pc:sldMkLst>
          <pc:docMk/>
          <pc:sldMk cId="3070204084" sldId="2147375609"/>
        </pc:sldMkLst>
        <pc:spChg chg="mod">
          <ac:chgData name="Chakraborty, Rohita SBOBNG-PTIY/TCBC" userId="cf4991cc-9c30-4798-8d3b-d099c236116d" providerId="ADAL" clId="{980AF270-BCF9-4F8F-B3E8-879A80E43E88}" dt="2024-08-30T13:38:11.672" v="3953" actId="123"/>
          <ac:spMkLst>
            <pc:docMk/>
            <pc:sldMk cId="3070204084" sldId="2147375609"/>
            <ac:spMk id="11" creationId="{DE9F1BE0-7910-FA1B-DCE8-56EFD1E4FC09}"/>
          </ac:spMkLst>
        </pc:spChg>
        <pc:spChg chg="mod">
          <ac:chgData name="Chakraborty, Rohita SBOBNG-PTIY/TCBC" userId="cf4991cc-9c30-4798-8d3b-d099c236116d" providerId="ADAL" clId="{980AF270-BCF9-4F8F-B3E8-879A80E43E88}" dt="2024-08-30T13:38:15.451" v="3954" actId="20577"/>
          <ac:spMkLst>
            <pc:docMk/>
            <pc:sldMk cId="3070204084" sldId="2147375609"/>
            <ac:spMk id="12" creationId="{E53E5C3F-4D2B-B85F-E592-E58E032C664C}"/>
          </ac:spMkLst>
        </pc:spChg>
        <pc:picChg chg="add mod">
          <ac:chgData name="Chakraborty, Rohita SBOBNG-PTIY/TCBC" userId="cf4991cc-9c30-4798-8d3b-d099c236116d" providerId="ADAL" clId="{980AF270-BCF9-4F8F-B3E8-879A80E43E88}" dt="2024-08-30T13:41:31.775" v="3960" actId="1076"/>
          <ac:picMkLst>
            <pc:docMk/>
            <pc:sldMk cId="3070204084" sldId="2147375609"/>
            <ac:picMk id="6" creationId="{1E9E9270-D2F4-9964-27C7-C186BF6FC706}"/>
          </ac:picMkLst>
        </pc:picChg>
      </pc:sldChg>
      <pc:sldChg chg="modSp mod">
        <pc:chgData name="Chakraborty, Rohita SBOBNG-PTIY/TCBC" userId="cf4991cc-9c30-4798-8d3b-d099c236116d" providerId="ADAL" clId="{980AF270-BCF9-4F8F-B3E8-879A80E43E88}" dt="2024-08-30T14:37:49.726" v="4373" actId="123"/>
        <pc:sldMkLst>
          <pc:docMk/>
          <pc:sldMk cId="3754613224" sldId="2147375611"/>
        </pc:sldMkLst>
        <pc:spChg chg="mod">
          <ac:chgData name="Chakraborty, Rohita SBOBNG-PTIY/TCBC" userId="cf4991cc-9c30-4798-8d3b-d099c236116d" providerId="ADAL" clId="{980AF270-BCF9-4F8F-B3E8-879A80E43E88}" dt="2024-08-30T14:34:03.187" v="4124" actId="20577"/>
          <ac:spMkLst>
            <pc:docMk/>
            <pc:sldMk cId="3754613224" sldId="2147375611"/>
            <ac:spMk id="18" creationId="{6C73795A-BE20-7075-E9C6-6F145CE60794}"/>
          </ac:spMkLst>
        </pc:spChg>
        <pc:spChg chg="mod">
          <ac:chgData name="Chakraborty, Rohita SBOBNG-PTIY/TCBC" userId="cf4991cc-9c30-4798-8d3b-d099c236116d" providerId="ADAL" clId="{980AF270-BCF9-4F8F-B3E8-879A80E43E88}" dt="2024-08-30T14:35:03.681" v="4247" actId="33524"/>
          <ac:spMkLst>
            <pc:docMk/>
            <pc:sldMk cId="3754613224" sldId="2147375611"/>
            <ac:spMk id="19" creationId="{A3E2F4D1-4417-E244-3DB9-A6FF5866A342}"/>
          </ac:spMkLst>
        </pc:spChg>
        <pc:spChg chg="mod">
          <ac:chgData name="Chakraborty, Rohita SBOBNG-PTIY/TCBC" userId="cf4991cc-9c30-4798-8d3b-d099c236116d" providerId="ADAL" clId="{980AF270-BCF9-4F8F-B3E8-879A80E43E88}" dt="2024-08-30T14:37:49.726" v="4373" actId="123"/>
          <ac:spMkLst>
            <pc:docMk/>
            <pc:sldMk cId="3754613224" sldId="2147375611"/>
            <ac:spMk id="20" creationId="{3EBEB0AC-D407-44FD-A74F-90F67F3D13C3}"/>
          </ac:spMkLst>
        </pc:spChg>
      </pc:sldChg>
      <pc:sldChg chg="addSp modSp mod">
        <pc:chgData name="Chakraborty, Rohita SBOBNG-PTIY/TCBC" userId="cf4991cc-9c30-4798-8d3b-d099c236116d" providerId="ADAL" clId="{980AF270-BCF9-4F8F-B3E8-879A80E43E88}" dt="2024-08-30T14:41:40.812" v="4530" actId="1076"/>
        <pc:sldMkLst>
          <pc:docMk/>
          <pc:sldMk cId="1148838763" sldId="2147375613"/>
        </pc:sldMkLst>
        <pc:spChg chg="mod">
          <ac:chgData name="Chakraborty, Rohita SBOBNG-PTIY/TCBC" userId="cf4991cc-9c30-4798-8d3b-d099c236116d" providerId="ADAL" clId="{980AF270-BCF9-4F8F-B3E8-879A80E43E88}" dt="2024-08-30T14:38:59.533" v="4524" actId="123"/>
          <ac:spMkLst>
            <pc:docMk/>
            <pc:sldMk cId="1148838763" sldId="2147375613"/>
            <ac:spMk id="11" creationId="{8CC1343B-2E39-FEFF-8FF6-46822F18B432}"/>
          </ac:spMkLst>
        </pc:spChg>
        <pc:spChg chg="mod">
          <ac:chgData name="Chakraborty, Rohita SBOBNG-PTIY/TCBC" userId="cf4991cc-9c30-4798-8d3b-d099c236116d" providerId="ADAL" clId="{980AF270-BCF9-4F8F-B3E8-879A80E43E88}" dt="2024-08-30T14:39:03.072" v="4525" actId="20577"/>
          <ac:spMkLst>
            <pc:docMk/>
            <pc:sldMk cId="1148838763" sldId="2147375613"/>
            <ac:spMk id="12" creationId="{5A873A1A-E63F-91AE-7D43-ED0F86870147}"/>
          </ac:spMkLst>
        </pc:spChg>
        <pc:picChg chg="add mod">
          <ac:chgData name="Chakraborty, Rohita SBOBNG-PTIY/TCBC" userId="cf4991cc-9c30-4798-8d3b-d099c236116d" providerId="ADAL" clId="{980AF270-BCF9-4F8F-B3E8-879A80E43E88}" dt="2024-08-30T14:41:40.812" v="4530" actId="1076"/>
          <ac:picMkLst>
            <pc:docMk/>
            <pc:sldMk cId="1148838763" sldId="2147375613"/>
            <ac:picMk id="6" creationId="{3F5EC3B1-60A8-BB2B-91C8-4D5353926598}"/>
          </ac:picMkLst>
        </pc:picChg>
      </pc:sldChg>
      <pc:sldChg chg="modSp mod">
        <pc:chgData name="Chakraborty, Rohita SBOBNG-PTIY/TCBC" userId="cf4991cc-9c30-4798-8d3b-d099c236116d" providerId="ADAL" clId="{980AF270-BCF9-4F8F-B3E8-879A80E43E88}" dt="2024-08-30T14:44:18.356" v="4660" actId="123"/>
        <pc:sldMkLst>
          <pc:docMk/>
          <pc:sldMk cId="3865850111" sldId="2147375614"/>
        </pc:sldMkLst>
        <pc:spChg chg="mod">
          <ac:chgData name="Chakraborty, Rohita SBOBNG-PTIY/TCBC" userId="cf4991cc-9c30-4798-8d3b-d099c236116d" providerId="ADAL" clId="{980AF270-BCF9-4F8F-B3E8-879A80E43E88}" dt="2024-08-30T14:44:18.356" v="4660" actId="123"/>
          <ac:spMkLst>
            <pc:docMk/>
            <pc:sldMk cId="3865850111" sldId="2147375614"/>
            <ac:spMk id="6" creationId="{AC2F88D2-81D4-FAD4-568E-A3F495B06411}"/>
          </ac:spMkLst>
        </pc:spChg>
      </pc:sldChg>
      <pc:sldChg chg="addSp delSp modSp add mod">
        <pc:chgData name="Chakraborty, Rohita SBOBNG-PTIY/TCBC" userId="cf4991cc-9c30-4798-8d3b-d099c236116d" providerId="ADAL" clId="{980AF270-BCF9-4F8F-B3E8-879A80E43E88}" dt="2024-08-30T11:50:00.934" v="2127" actId="123"/>
        <pc:sldMkLst>
          <pc:docMk/>
          <pc:sldMk cId="4022931816" sldId="2147375615"/>
        </pc:sldMkLst>
        <pc:spChg chg="mod">
          <ac:chgData name="Chakraborty, Rohita SBOBNG-PTIY/TCBC" userId="cf4991cc-9c30-4798-8d3b-d099c236116d" providerId="ADAL" clId="{980AF270-BCF9-4F8F-B3E8-879A80E43E88}" dt="2024-08-30T11:29:08.956" v="1131" actId="20577"/>
          <ac:spMkLst>
            <pc:docMk/>
            <pc:sldMk cId="4022931816" sldId="2147375615"/>
            <ac:spMk id="3" creationId="{CEA128C4-A0BC-A895-713C-306E7FF62894}"/>
          </ac:spMkLst>
        </pc:spChg>
        <pc:spChg chg="mod">
          <ac:chgData name="Chakraborty, Rohita SBOBNG-PTIY/TCBC" userId="cf4991cc-9c30-4798-8d3b-d099c236116d" providerId="ADAL" clId="{980AF270-BCF9-4F8F-B3E8-879A80E43E88}" dt="2024-08-30T11:50:00.934" v="2127" actId="123"/>
          <ac:spMkLst>
            <pc:docMk/>
            <pc:sldMk cId="4022931816" sldId="2147375615"/>
            <ac:spMk id="11" creationId="{DE9F1BE0-7910-FA1B-DCE8-56EFD1E4FC09}"/>
          </ac:spMkLst>
        </pc:spChg>
        <pc:picChg chg="del">
          <ac:chgData name="Chakraborty, Rohita SBOBNG-PTIY/TCBC" userId="cf4991cc-9c30-4798-8d3b-d099c236116d" providerId="ADAL" clId="{980AF270-BCF9-4F8F-B3E8-879A80E43E88}" dt="2024-08-30T11:29:11.197" v="1132" actId="478"/>
          <ac:picMkLst>
            <pc:docMk/>
            <pc:sldMk cId="4022931816" sldId="2147375615"/>
            <ac:picMk id="1028" creationId="{46F164C6-1535-149A-E896-301C8EC5F019}"/>
          </ac:picMkLst>
        </pc:picChg>
        <pc:picChg chg="add mod">
          <ac:chgData name="Chakraborty, Rohita SBOBNG-PTIY/TCBC" userId="cf4991cc-9c30-4798-8d3b-d099c236116d" providerId="ADAL" clId="{980AF270-BCF9-4F8F-B3E8-879A80E43E88}" dt="2024-08-30T11:37:44.264" v="1502" actId="1076"/>
          <ac:picMkLst>
            <pc:docMk/>
            <pc:sldMk cId="4022931816" sldId="2147375615"/>
            <ac:picMk id="2050" creationId="{FE326CD4-898D-D324-BE26-92B2CE8D2042}"/>
          </ac:picMkLst>
        </pc:picChg>
      </pc:sldChg>
      <pc:sldChg chg="addSp delSp modSp add mod">
        <pc:chgData name="Chakraborty, Rohita SBOBNG-PTIY/TCBC" userId="cf4991cc-9c30-4798-8d3b-d099c236116d" providerId="ADAL" clId="{980AF270-BCF9-4F8F-B3E8-879A80E43E88}" dt="2024-08-30T11:50:06.468" v="2128" actId="123"/>
        <pc:sldMkLst>
          <pc:docMk/>
          <pc:sldMk cId="2345638561" sldId="2147375616"/>
        </pc:sldMkLst>
        <pc:spChg chg="mod">
          <ac:chgData name="Chakraborty, Rohita SBOBNG-PTIY/TCBC" userId="cf4991cc-9c30-4798-8d3b-d099c236116d" providerId="ADAL" clId="{980AF270-BCF9-4F8F-B3E8-879A80E43E88}" dt="2024-08-30T11:37:57.183" v="1505" actId="20577"/>
          <ac:spMkLst>
            <pc:docMk/>
            <pc:sldMk cId="2345638561" sldId="2147375616"/>
            <ac:spMk id="3" creationId="{CEA128C4-A0BC-A895-713C-306E7FF62894}"/>
          </ac:spMkLst>
        </pc:spChg>
        <pc:spChg chg="mod">
          <ac:chgData name="Chakraborty, Rohita SBOBNG-PTIY/TCBC" userId="cf4991cc-9c30-4798-8d3b-d099c236116d" providerId="ADAL" clId="{980AF270-BCF9-4F8F-B3E8-879A80E43E88}" dt="2024-08-30T11:50:06.468" v="2128" actId="123"/>
          <ac:spMkLst>
            <pc:docMk/>
            <pc:sldMk cId="2345638561" sldId="2147375616"/>
            <ac:spMk id="11" creationId="{DE9F1BE0-7910-FA1B-DCE8-56EFD1E4FC09}"/>
          </ac:spMkLst>
        </pc:spChg>
        <pc:picChg chg="del">
          <ac:chgData name="Chakraborty, Rohita SBOBNG-PTIY/TCBC" userId="cf4991cc-9c30-4798-8d3b-d099c236116d" providerId="ADAL" clId="{980AF270-BCF9-4F8F-B3E8-879A80E43E88}" dt="2024-08-30T11:38:18.442" v="1507" actId="478"/>
          <ac:picMkLst>
            <pc:docMk/>
            <pc:sldMk cId="2345638561" sldId="2147375616"/>
            <ac:picMk id="2050" creationId="{FE326CD4-898D-D324-BE26-92B2CE8D2042}"/>
          </ac:picMkLst>
        </pc:picChg>
        <pc:picChg chg="add mod">
          <ac:chgData name="Chakraborty, Rohita SBOBNG-PTIY/TCBC" userId="cf4991cc-9c30-4798-8d3b-d099c236116d" providerId="ADAL" clId="{980AF270-BCF9-4F8F-B3E8-879A80E43E88}" dt="2024-08-30T11:42:25.444" v="1767" actId="1076"/>
          <ac:picMkLst>
            <pc:docMk/>
            <pc:sldMk cId="2345638561" sldId="2147375616"/>
            <ac:picMk id="3074" creationId="{5A34934A-11C7-0341-C856-CCB8CFD2149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9.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40.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pn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6.jpe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Rohita Chakraborty</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with long hair wearing glasses&#10;&#10;Description automatically generated">
            <a:extLst>
              <a:ext uri="{FF2B5EF4-FFF2-40B4-BE49-F238E27FC236}">
                <a16:creationId xmlns:a16="http://schemas.microsoft.com/office/drawing/2014/main" id="{DC2041A8-2E74-DA0D-58F5-DA2D305451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83450" y="243839"/>
            <a:ext cx="2974869" cy="3857899"/>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2401369"/>
            <a:ext cx="5653806" cy="29954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Attitude and mindset – </a:t>
            </a:r>
          </a:p>
          <a:p>
            <a:pPr marL="0" indent="0" algn="just">
              <a:buNone/>
            </a:pPr>
            <a:r>
              <a:rPr lang="en-US" sz="2000" dirty="0"/>
              <a:t>According to me, Shell implements the core concept of treating everyone with respect and having a learner mindset.</a:t>
            </a:r>
          </a:p>
          <a:p>
            <a:pPr marL="0" indent="0" algn="just">
              <a:buNone/>
            </a:pPr>
            <a:endParaRPr lang="en-US" sz="2000" dirty="0"/>
          </a:p>
          <a:p>
            <a:pPr marL="0" indent="0" algn="just">
              <a:buNone/>
            </a:pPr>
            <a:r>
              <a:rPr lang="en-US" sz="2000" dirty="0"/>
              <a:t>According to me, Shell benefits from this because having a positive attitude and a growth mindset is very important for innovation in workplace and the success of the company</a:t>
            </a:r>
          </a:p>
          <a:p>
            <a:pPr marL="0" indent="0" algn="just">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8 Growth Mindset Ways to Develop Mental Strength">
            <a:extLst>
              <a:ext uri="{FF2B5EF4-FFF2-40B4-BE49-F238E27FC236}">
                <a16:creationId xmlns:a16="http://schemas.microsoft.com/office/drawing/2014/main" id="{16C968F3-8199-64BA-FAE9-27B7EBB092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44392" y="1904496"/>
            <a:ext cx="3463519" cy="398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39883" y="2259129"/>
            <a:ext cx="5653806" cy="327996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Neuroplasticity - </a:t>
            </a:r>
          </a:p>
          <a:p>
            <a:pPr marL="0" indent="0" algn="just">
              <a:buNone/>
            </a:pPr>
            <a:r>
              <a:rPr lang="en-US" sz="2000" dirty="0"/>
              <a:t>According to me, Shell implements neuroplasticity by teaching the importance of connecting and networking with people.</a:t>
            </a:r>
          </a:p>
          <a:p>
            <a:pPr marL="0" indent="0" algn="just">
              <a:buNone/>
            </a:pPr>
            <a:endParaRPr lang="en-US" sz="2000" dirty="0"/>
          </a:p>
          <a:p>
            <a:pPr marL="0" indent="0" algn="just">
              <a:buNone/>
            </a:pPr>
            <a:r>
              <a:rPr lang="en-US" sz="2000" dirty="0"/>
              <a:t>According to me, Shell benefits from networking within the company because it helps to understand the strengths of different individuals and how their skills can be beneficial in different sectors of the compan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Meeting people is easy: networking tips for startup founders ...">
            <a:extLst>
              <a:ext uri="{FF2B5EF4-FFF2-40B4-BE49-F238E27FC236}">
                <a16:creationId xmlns:a16="http://schemas.microsoft.com/office/drawing/2014/main" id="{5F7E537B-ADFA-EF9C-058E-109BF0C835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10655" y="2135051"/>
            <a:ext cx="5106068" cy="3404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2299769"/>
            <a:ext cx="5653806" cy="31986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Agile methodology - </a:t>
            </a:r>
          </a:p>
          <a:p>
            <a:pPr marL="0" indent="0" algn="just">
              <a:buNone/>
            </a:pPr>
            <a:r>
              <a:rPr lang="en-US" sz="2000" dirty="0"/>
              <a:t>According to me, Shell implements Agile methodology in different departments across the company for their work.</a:t>
            </a:r>
          </a:p>
          <a:p>
            <a:pPr marL="0" indent="0" algn="just">
              <a:buNone/>
            </a:pPr>
            <a:endParaRPr lang="en-US" sz="2000" dirty="0"/>
          </a:p>
          <a:p>
            <a:pPr marL="0" indent="0" algn="just">
              <a:buNone/>
            </a:pPr>
            <a:r>
              <a:rPr lang="en-US" sz="2000" dirty="0"/>
              <a:t>According to me, Shell benefits from this methodology because it is preferred over the waterfall methodology. It has several benefits like – improved quality, adaptability and better communic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What is Agile and Scrum? | Different Approaches of Agile and Scrum">
            <a:extLst>
              <a:ext uri="{FF2B5EF4-FFF2-40B4-BE49-F238E27FC236}">
                <a16:creationId xmlns:a16="http://schemas.microsoft.com/office/drawing/2014/main" id="{A5587A81-9C91-1A43-B772-E9C4B502645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36862" y="1995083"/>
            <a:ext cx="3878580" cy="3808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In the beginning when we were doing group presentations, many of us were hesitant and shy. However, we grew comfortable and started embracing the learning attitude and mindset. It helped us in understanding the essential soft skills needed to communicate effectively and strive for succ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6" name="Picture 2" descr="Simple Ways To Change Your Mindset - Shane Cradock">
            <a:extLst>
              <a:ext uri="{FF2B5EF4-FFF2-40B4-BE49-F238E27FC236}">
                <a16:creationId xmlns:a16="http://schemas.microsoft.com/office/drawing/2014/main" id="{03CFD425-04DA-E5A1-127B-729F80E3C8A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68981" y="2024593"/>
            <a:ext cx="5014341" cy="3749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At the beginning, most of us did not know each other at all. However, after the end of the first day, I knew the name of all 30 of my friends in my batch and grew close to a lot of them. This helped us in developing close connections and further motivated us to get to know other colleagues as well.</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2050" name="Picture 2" descr="The Importance of Link Building - Gazz Consulting">
            <a:extLst>
              <a:ext uri="{FF2B5EF4-FFF2-40B4-BE49-F238E27FC236}">
                <a16:creationId xmlns:a16="http://schemas.microsoft.com/office/drawing/2014/main" id="{F17C45BE-B37F-1B96-A3EB-906A224BE07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32394" y="2132115"/>
            <a:ext cx="5084675" cy="35371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Learning about the agile methodology was a little difficult at first as it was a new topic, but it was interesting. The hands-on experience on azure dev ops helped us get a deep insight on the working of the entire agile methodolog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1E9E9270-D2F4-9964-27C7-C186BF6FC706}"/>
              </a:ext>
            </a:extLst>
          </p:cNvPr>
          <p:cNvPicPr>
            <a:picLocks noChangeAspect="1"/>
          </p:cNvPicPr>
          <p:nvPr/>
        </p:nvPicPr>
        <p:blipFill>
          <a:blip r:embed="rId7"/>
          <a:stretch>
            <a:fillRect/>
          </a:stretch>
        </p:blipFill>
        <p:spPr>
          <a:xfrm>
            <a:off x="6524198" y="2486237"/>
            <a:ext cx="5103907" cy="2825752"/>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effectLst>
                  <a:outerShdw blurRad="38100" dist="38100" dir="2700000" algn="tl">
                    <a:srgbClr val="000000">
                      <a:alpha val="43137"/>
                    </a:srgbClr>
                  </a:outerShdw>
                </a:effectLst>
              </a:rPr>
              <a:t>Need to study all the materials provided to us about soft skills and learn about all the technologies that we will be learning in the bootcamp.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effectLst>
                  <a:outerShdw blurRad="38100" dist="38100" dir="2700000" algn="tl">
                    <a:srgbClr val="000000">
                      <a:alpha val="43137"/>
                    </a:srgbClr>
                  </a:outerShdw>
                </a:effectLst>
              </a:rPr>
              <a:t>In the weekend, I will be revising soft skills and practice azure dev ops to know more about agile methodology.</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effectLst>
                  <a:outerShdw blurRad="38100" dist="38100" dir="2700000" algn="tl">
                    <a:srgbClr val="000000">
                      <a:alpha val="43137"/>
                    </a:srgbClr>
                  </a:outerShdw>
                </a:effectLst>
              </a:rPr>
              <a:t>I hope I finish all my work and learn new things which I can apply to my work here.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Family is our foundation; happiness is our goal!</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F1F56A95-56E0-55D0-A886-9FB00FAE2312}"/>
              </a:ext>
            </a:extLst>
          </p:cNvPr>
          <p:cNvPicPr>
            <a:picLocks noChangeAspect="1"/>
          </p:cNvPicPr>
          <p:nvPr/>
        </p:nvPicPr>
        <p:blipFill>
          <a:blip r:embed="rId5"/>
          <a:stretch>
            <a:fillRect/>
          </a:stretch>
        </p:blipFill>
        <p:spPr>
          <a:xfrm>
            <a:off x="7147340" y="1941045"/>
            <a:ext cx="3857625" cy="385762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We performed a lot of group activities which were a lot of fun. We got to know a lot about our friends and bonded over the memories we created.</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drawing of a shell with peacock feathers and a sun&#10;&#10;Description automatically generated">
            <a:extLst>
              <a:ext uri="{FF2B5EF4-FFF2-40B4-BE49-F238E27FC236}">
                <a16:creationId xmlns:a16="http://schemas.microsoft.com/office/drawing/2014/main" id="{3F5EC3B1-60A8-BB2B-91C8-4D53539265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47278" y="2173138"/>
            <a:ext cx="4857750" cy="36576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1"/>
            <a:ext cx="9804401" cy="2876680"/>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lnSpc>
                <a:spcPct val="100000"/>
              </a:lnSpc>
            </a:pPr>
            <a:r>
              <a:rPr lang="en-US" sz="1800" dirty="0"/>
              <a:t>Growth mindset</a:t>
            </a:r>
          </a:p>
          <a:p>
            <a:pPr marL="457200" indent="-457200" algn="just">
              <a:lnSpc>
                <a:spcPct val="100000"/>
              </a:lnSpc>
            </a:pPr>
            <a:r>
              <a:rPr lang="en-US" sz="1800" dirty="0"/>
              <a:t>Learning attitude</a:t>
            </a:r>
          </a:p>
          <a:p>
            <a:pPr marL="457200" indent="-457200" algn="just">
              <a:lnSpc>
                <a:spcPct val="100000"/>
              </a:lnSpc>
            </a:pPr>
            <a:r>
              <a:rPr lang="en-US" sz="1800" dirty="0"/>
              <a:t>Stakeholder management</a:t>
            </a:r>
          </a:p>
          <a:p>
            <a:pPr marL="457200" indent="-457200" algn="just">
              <a:lnSpc>
                <a:spcPct val="100000"/>
              </a:lnSpc>
            </a:pPr>
            <a:r>
              <a:rPr lang="en-US" sz="1800" dirty="0"/>
              <a:t>Neuroplasticity</a:t>
            </a:r>
          </a:p>
          <a:p>
            <a:pPr marL="457200" indent="-457200" algn="just">
              <a:lnSpc>
                <a:spcPct val="100000"/>
              </a:lnSpc>
            </a:pPr>
            <a:r>
              <a:rPr lang="en-US" sz="1800" dirty="0"/>
              <a:t>Agile methodology</a:t>
            </a:r>
          </a:p>
          <a:p>
            <a:pPr marL="457200" indent="-457200" algn="just">
              <a:lnSpc>
                <a:spcPct val="100000"/>
              </a:lnSpc>
            </a:pPr>
            <a:r>
              <a:rPr lang="en-US" sz="1800" dirty="0"/>
              <a:t>SDLC model</a:t>
            </a:r>
          </a:p>
          <a:p>
            <a:pPr marL="457200" indent="-457200" algn="just">
              <a:lnSpc>
                <a:spcPct val="100000"/>
              </a:lnSpc>
            </a:pPr>
            <a:r>
              <a:rPr lang="en-US" sz="1800" dirty="0"/>
              <a:t>Requirement analysis</a:t>
            </a:r>
          </a:p>
          <a:p>
            <a:pPr marL="457200" indent="-457200" algn="just">
              <a:lnSpc>
                <a:spcPct val="100000"/>
              </a:lnSpc>
            </a:pPr>
            <a:endParaRPr lang="en-US" sz="1800" dirty="0"/>
          </a:p>
          <a:p>
            <a:pPr marL="457200" indent="-457200" algn="just">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2706169"/>
            <a:ext cx="5653806" cy="23858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Importance of teamwork</a:t>
            </a:r>
          </a:p>
          <a:p>
            <a:pPr algn="just"/>
            <a:r>
              <a:rPr lang="en-US" sz="2000" dirty="0"/>
              <a:t>Concept of win-win</a:t>
            </a:r>
          </a:p>
          <a:p>
            <a:pPr algn="just"/>
            <a:r>
              <a:rPr lang="en-US" sz="2000" dirty="0"/>
              <a:t>Speak loudly and make yourself heard</a:t>
            </a:r>
          </a:p>
          <a:p>
            <a:pPr algn="just"/>
            <a:r>
              <a:rPr lang="en-US" sz="2000" dirty="0"/>
              <a:t>Fixed mindset and growth mindset</a:t>
            </a:r>
          </a:p>
          <a:p>
            <a:pPr algn="just"/>
            <a:r>
              <a:rPr lang="en-US" sz="2000" dirty="0"/>
              <a:t>Etiquettes to be followed in a corporate setting</a:t>
            </a:r>
          </a:p>
          <a:p>
            <a:pPr algn="just"/>
            <a:r>
              <a:rPr lang="en-US" sz="2000" dirty="0"/>
              <a:t>Grooming Tips </a:t>
            </a:r>
          </a:p>
          <a:p>
            <a:pPr algn="just"/>
            <a:endParaRPr lang="en-US" sz="2000" dirty="0"/>
          </a:p>
          <a:p>
            <a:pPr algn="just"/>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1026" name="Picture 2" descr="What Team Centered Goal Setting Really Looks Like">
            <a:extLst>
              <a:ext uri="{FF2B5EF4-FFF2-40B4-BE49-F238E27FC236}">
                <a16:creationId xmlns:a16="http://schemas.microsoft.com/office/drawing/2014/main" id="{AD955203-77E0-CC58-D6D3-BC215C429EB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6541" y="2364953"/>
            <a:ext cx="4799222" cy="3068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2254049"/>
            <a:ext cx="5653806" cy="329012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Mind exercise to remember sequences</a:t>
            </a:r>
          </a:p>
          <a:p>
            <a:pPr algn="just"/>
            <a:r>
              <a:rPr lang="en-US" sz="2000" dirty="0"/>
              <a:t>Understanding neuroplasticity</a:t>
            </a:r>
          </a:p>
          <a:p>
            <a:pPr algn="just"/>
            <a:r>
              <a:rPr lang="en-US" sz="2000" dirty="0"/>
              <a:t>People involved and people affected during different circumstances</a:t>
            </a:r>
          </a:p>
          <a:p>
            <a:pPr algn="just"/>
            <a:r>
              <a:rPr lang="en-US" sz="2000" dirty="0"/>
              <a:t>Identifying stakeholders, planning stakeholder management, stakeholder engagement, control stakeholder engagement</a:t>
            </a:r>
          </a:p>
          <a:p>
            <a:pPr algn="just"/>
            <a:r>
              <a:rPr lang="en-US" sz="2000" dirty="0"/>
              <a:t>Benefits for understanding stakeholders</a:t>
            </a:r>
          </a:p>
          <a:p>
            <a:pPr algn="just"/>
            <a:r>
              <a:rPr lang="en-US" sz="2000" dirty="0"/>
              <a:t>Learning about the Power Interest Grid</a:t>
            </a:r>
          </a:p>
          <a:p>
            <a:pPr marL="0" indent="0" algn="just">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descr="How Neuroplasticity Changes The Brain - Driven">
            <a:extLst>
              <a:ext uri="{FF2B5EF4-FFF2-40B4-BE49-F238E27FC236}">
                <a16:creationId xmlns:a16="http://schemas.microsoft.com/office/drawing/2014/main" id="{FCE449E2-377F-A530-59EC-F68DC2E0DA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66972" y="1941742"/>
            <a:ext cx="4818357" cy="16817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he power-interest grid – Jo Can Do">
            <a:extLst>
              <a:ext uri="{FF2B5EF4-FFF2-40B4-BE49-F238E27FC236}">
                <a16:creationId xmlns:a16="http://schemas.microsoft.com/office/drawing/2014/main" id="{4DA9AC5C-3718-1268-4B83-9FCB1AEAFC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73325" y="3722827"/>
            <a:ext cx="3205653" cy="2115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2010207"/>
            <a:ext cx="5653806" cy="377780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Learnt the 2 types of structure of speech – OBC (Opening, Body, Conclusion) and PREP (Point, Reason, Example, Point) and gave a 3-minute speech on a topic of our choice</a:t>
            </a:r>
          </a:p>
          <a:p>
            <a:pPr algn="just"/>
            <a:r>
              <a:rPr lang="en-US" sz="2000" dirty="0"/>
              <a:t>Understood the importance of Power of Triad and watched the speech of winner of Toastmasters 2014</a:t>
            </a:r>
          </a:p>
          <a:p>
            <a:pPr algn="just"/>
            <a:r>
              <a:rPr lang="en-US" sz="2000" dirty="0"/>
              <a:t>Discussed the stages of Team formation – Forming, Norming, Storming, Performing</a:t>
            </a:r>
          </a:p>
          <a:p>
            <a:pPr algn="just"/>
            <a:r>
              <a:rPr lang="en-US" sz="2000" dirty="0"/>
              <a:t>Learnt about the Shell Trust Equation of credibility, reliability and integrity over self ori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8" name="Picture 4" descr="Five Stages of Team Development | Quality Gurus">
            <a:extLst>
              <a:ext uri="{FF2B5EF4-FFF2-40B4-BE49-F238E27FC236}">
                <a16:creationId xmlns:a16="http://schemas.microsoft.com/office/drawing/2014/main" id="{46F164C6-1535-149A-E896-301C8EC5F01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4718" y="2466062"/>
            <a:ext cx="5182867" cy="2866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Learnt about the following topics – </a:t>
            </a:r>
          </a:p>
          <a:p>
            <a:pPr algn="just"/>
            <a:r>
              <a:rPr lang="en-US" sz="2000" dirty="0"/>
              <a:t>Stand up meetings</a:t>
            </a:r>
          </a:p>
          <a:p>
            <a:pPr algn="just"/>
            <a:r>
              <a:rPr lang="en-US" sz="2000" dirty="0"/>
              <a:t>SoS (Scrum of Scrums)</a:t>
            </a:r>
          </a:p>
          <a:p>
            <a:pPr algn="just"/>
            <a:r>
              <a:rPr lang="en-US" sz="2000" dirty="0"/>
              <a:t>Business Analysis</a:t>
            </a:r>
          </a:p>
          <a:p>
            <a:pPr algn="just"/>
            <a:r>
              <a:rPr lang="en-US" sz="2000" dirty="0"/>
              <a:t>Functional and Non-functional requirements</a:t>
            </a:r>
          </a:p>
          <a:p>
            <a:pPr algn="just"/>
            <a:r>
              <a:rPr lang="en-US" sz="2000" dirty="0"/>
              <a:t>SDLC model (Software Development Life Cycle) and its 7 stages</a:t>
            </a:r>
          </a:p>
          <a:p>
            <a:pPr algn="just"/>
            <a:r>
              <a:rPr lang="en-US" sz="2000" dirty="0"/>
              <a:t>Requirement analysis and techniques for requirement gathering</a:t>
            </a:r>
          </a:p>
          <a:p>
            <a:pPr algn="just"/>
            <a:r>
              <a:rPr lang="en-US" sz="2000" dirty="0"/>
              <a:t>Waterfall model and Agile model</a:t>
            </a:r>
          </a:p>
          <a:p>
            <a:pPr algn="just"/>
            <a:r>
              <a:rPr lang="en-US" sz="2000" dirty="0"/>
              <a:t>PI (Product Increment) model</a:t>
            </a:r>
          </a:p>
          <a:p>
            <a:pPr algn="just"/>
            <a:endParaRPr lang="en-US" sz="2000" dirty="0"/>
          </a:p>
          <a:p>
            <a:pPr algn="just"/>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Waterfall vs Agile: Which Methodology Is Right For Your Project ...">
            <a:extLst>
              <a:ext uri="{FF2B5EF4-FFF2-40B4-BE49-F238E27FC236}">
                <a16:creationId xmlns:a16="http://schemas.microsoft.com/office/drawing/2014/main" id="{FE326CD4-898D-D324-BE26-92B2CE8D20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7272" y="2473335"/>
            <a:ext cx="4937760" cy="2851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2931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Day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Learnt about the following topics –</a:t>
            </a:r>
          </a:p>
          <a:p>
            <a:pPr algn="just"/>
            <a:r>
              <a:rPr lang="en-US" sz="2000" dirty="0"/>
              <a:t>Epics, User stories, Sprints</a:t>
            </a:r>
          </a:p>
          <a:p>
            <a:pPr algn="just"/>
            <a:r>
              <a:rPr lang="en-US" sz="2000" dirty="0"/>
              <a:t>Burndown vs Burnup charts</a:t>
            </a:r>
          </a:p>
          <a:p>
            <a:pPr algn="just"/>
            <a:r>
              <a:rPr lang="en-US" sz="2000" dirty="0"/>
              <a:t>Retrospective</a:t>
            </a:r>
          </a:p>
          <a:p>
            <a:pPr algn="just"/>
            <a:r>
              <a:rPr lang="en-US" sz="2000" dirty="0"/>
              <a:t>Monolithic architecture vs Microservice architecture</a:t>
            </a:r>
          </a:p>
          <a:p>
            <a:pPr algn="just"/>
            <a:r>
              <a:rPr lang="en-US" sz="2000" dirty="0"/>
              <a:t>Scrum benefits</a:t>
            </a:r>
          </a:p>
          <a:p>
            <a:pPr algn="just"/>
            <a:r>
              <a:rPr lang="en-US" sz="2000" dirty="0"/>
              <a:t>Product backlog</a:t>
            </a:r>
          </a:p>
          <a:p>
            <a:pPr algn="just"/>
            <a:r>
              <a:rPr lang="en-US" sz="2000" dirty="0"/>
              <a:t>User story vs enabler story</a:t>
            </a:r>
          </a:p>
          <a:p>
            <a:pPr algn="just"/>
            <a:r>
              <a:rPr lang="en-US" sz="2000" dirty="0"/>
              <a:t>Definition of Ready (DOR) vs Definition of Done (DOD) checklist </a:t>
            </a:r>
          </a:p>
          <a:p>
            <a:pPr algn="just"/>
            <a:endParaRPr lang="en-US" sz="2000" dirty="0"/>
          </a:p>
          <a:p>
            <a:pPr algn="just"/>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descr="Scrum Diagram - The Scrum Framework captured in Simple One Picture">
            <a:extLst>
              <a:ext uri="{FF2B5EF4-FFF2-40B4-BE49-F238E27FC236}">
                <a16:creationId xmlns:a16="http://schemas.microsoft.com/office/drawing/2014/main" id="{5A34934A-11C7-0341-C856-CCB8CFD214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88552" y="2108413"/>
            <a:ext cx="4775200" cy="358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56385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70</TotalTime>
  <Words>824</Words>
  <Application>Microsoft Office PowerPoint</Application>
  <PresentationFormat>Widescreen</PresentationFormat>
  <Paragraphs>103</Paragraphs>
  <Slides>2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6" baseType="lpstr">
      <vt:lpstr>Arial</vt:lpstr>
      <vt:lpstr>Calibri</vt:lpstr>
      <vt:lpstr>Office Theme</vt:lpstr>
      <vt:lpstr>think-cell Slide</vt:lpstr>
      <vt:lpstr>PowerPoint Presentation</vt:lpstr>
      <vt:lpstr>About Me</vt:lpstr>
      <vt:lpstr>PowerPoint Presentation</vt:lpstr>
      <vt:lpstr>Day 1 | My takeaways</vt:lpstr>
      <vt:lpstr>Day 2 | My takeaways</vt:lpstr>
      <vt:lpstr>Day 3 | My takeaways</vt:lpstr>
      <vt:lpstr>Day 4 | My takeaways</vt:lpstr>
      <vt:lpstr>Day 5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Chakraborty, Rohita SBOBNG-PTIY/TCBC</cp:lastModifiedBy>
  <cp:revision>499</cp:revision>
  <dcterms:created xsi:type="dcterms:W3CDTF">2022-01-18T12:35:56Z</dcterms:created>
  <dcterms:modified xsi:type="dcterms:W3CDTF">2024-08-30T14:4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